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2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242635977531166E-3"/>
          <c:y val="6.8149717514124297E-2"/>
          <c:w val="0.98575147280449371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4971-4FE5-8504-C5ABFCEDEF1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971-4FE5-8504-C5ABFCEDEF1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971-4FE5-8504-C5ABFCEDEF1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971-4FE5-8504-C5ABFCEDEF1B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971-4FE5-8504-C5ABFCEDEF1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971-4FE5-8504-C5ABFCEDEF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971-4FE5-8504-C5ABFCEDEF1B}"/>
            </c:ext>
          </c:extLst>
        </c:ser>
        <c:ser>
          <c:idx val="1"/>
          <c:order val="1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4971-4FE5-8504-C5ABFCEDEF1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971-4FE5-8504-C5ABFCEDEF1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971-4FE5-8504-C5ABFCEDEF1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971-4FE5-8504-C5ABFCEDEF1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971-4FE5-8504-C5ABFCEDEF1B}"/>
                </c:ext>
              </c:extLst>
            </c:dLbl>
            <c:dLbl>
              <c:idx val="4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971-4FE5-8504-C5ABFCEDEF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971-4FE5-8504-C5ABFCEDEF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13621120"/>
        <c:axId val="1"/>
      </c:barChart>
      <c:catAx>
        <c:axId val="3136211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3621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D9F36D-C78B-4EFB-807C-6CD0FBA547D3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468675-17A8-4298-9722-FE15A0AD8F8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4836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6718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19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87244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48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56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48077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32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830900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" Type="http://schemas.openxmlformats.org/officeDocument/2006/relationships/tags" Target="../tags/tag6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chart" Target="../charts/chart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5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oleObject" Target="../embeddings/oleObject5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23" imgW="360" imgH="360" progId="TCLayout.ActiveDocument.1">
                  <p:embed/>
                </p:oleObj>
              </mc:Choice>
              <mc:Fallback>
                <p:oleObj name="think-cell 幻灯片" r:id="rId2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aphicFrame>
        <p:nvGraphicFramePr>
          <p:cNvPr id="30" name="Chart 3">
            <a:extLst>
              <a:ext uri="{FF2B5EF4-FFF2-40B4-BE49-F238E27FC236}">
                <a16:creationId xmlns:a16="http://schemas.microsoft.com/office/drawing/2014/main" id="{733CECBB-7CD4-4265-965C-0B74A737CED4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320675" y="1258888"/>
          <a:ext cx="11587163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 useBgFill="1">
        <p:nvSpPr>
          <p:cNvPr id="12" name="任意多边形: 形状 11">
            <a:extLst>
              <a:ext uri="{FF2B5EF4-FFF2-40B4-BE49-F238E27FC236}">
                <a16:creationId xmlns:a16="http://schemas.microsoft.com/office/drawing/2014/main" id="{3950E005-2408-400E-B872-B9789099E00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491663" y="5375275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9AC4E6E7-A110-4211-8DFF-8D8ACDDEDB4D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491663" y="5375275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5C74C9F4-BE88-4A8D-88CC-940B165F32F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548813" y="5375275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14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98863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2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81688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3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166100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4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B2620A17-069B-3E5E-C130-352B29F84C0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450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5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322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year_1_total_number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636964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2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913438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3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178800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4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47273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5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0B556797-63B0-1687-20D2-1559C2A19F6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602087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xis break, breaks, stacked, column, columns, bar, bars, think-cell, chart, charts, graph, graph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302D24D8-3B9E-1798-554C-B5F9D207B03A}"/>
              </a:ext>
            </a:extLst>
          </p:cNvPr>
          <p:cNvSpPr txBox="1">
            <a:spLocks/>
          </p:cNvSpPr>
          <p:nvPr/>
        </p:nvSpPr>
        <p:spPr>
          <a:xfrm>
            <a:off x="403730" y="941811"/>
            <a:ext cx="791883" cy="215444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content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id="{FC57EB54-61EB-2F19-2F90-9341D5A5D91F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CAGR arrows, difference arrows)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17059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qUtjHMWB7Ns2tqJ12P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SWFufivY7g03PXFbpj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CJEHoK_q1.Pli.jYWn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gM1xQaKMf2z1Aq.VYkI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</TotalTime>
  <Words>198</Words>
  <Application>Microsoft Office PowerPoint</Application>
  <PresentationFormat>宽屏</PresentationFormat>
  <Paragraphs>29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9T03:50:21Z</dcterms:created>
  <dcterms:modified xsi:type="dcterms:W3CDTF">2025-09-09T05:03:18Z</dcterms:modified>
</cp:coreProperties>
</file>